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8"/>
  </p:notesMasterIdLst>
  <p:sldIdLst>
    <p:sldId id="397" r:id="rId2"/>
    <p:sldId id="399" r:id="rId3"/>
    <p:sldId id="392" r:id="rId4"/>
    <p:sldId id="395" r:id="rId5"/>
    <p:sldId id="396" r:id="rId6"/>
    <p:sldId id="391" r:id="rId7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389014-94FE-4C4B-90AC-C40E94C3AAEE}" v="89" dt="2024-03-09T17:55:59.29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92808" autoAdjust="0"/>
  </p:normalViewPr>
  <p:slideViewPr>
    <p:cSldViewPr snapToGrid="0">
      <p:cViewPr varScale="1">
        <p:scale>
          <a:sx n="80" d="100"/>
          <a:sy n="80" d="100"/>
        </p:scale>
        <p:origin x="792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538b02a8d00f7f48/Attachments/Southern%20Water%20Corp%20Financial%20Case%20Study%20MCU%20Student%20Facing%2017052020%20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ouserg\AppData\Local\Microsoft\Windows\INetCache\Content.Outlook\M812FO2R\school%20work%20Southern%20Water%20Corp%20Financial%20Case%20Study%20MCU%20Student%20Facing%2017052020%201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ouserg\AppData\Local\Microsoft\Windows\INetCache\Content.Outlook\M812FO2R\school%20work%20Southern%20Water%20Corp%20Financial%20Case%20Study%20MCU%20Student%20Facing%2017052020%201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manh\Downloads\Copy%20of%20school%20work%20Southern%20Water%20Corp%20Financial%20Case%20Study%20MCU%20Student%20Facing%2017052020%201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538b02a8d00f7f48/Attachments/Southern%20Water%20Corp%20Financial%20Case%20Study%20MCU%20Student%20Facing%2017052020%201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538b02a8d00f7f48/Attachments/Southern%20Water%20Corp%20Financial%20Case%20Study%20MCU%20Student%20Facing%2017052020%201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538b02a8d00f7f48/Attachments/Southern%20Water%20Corp%20Financial%20Case%20Study%20MCU%20Student%20Facing%2017052020%201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538b02a8d00f7f48/Attachments/Southern%20Water%20Corp%20Financial%20Case%20Study%20MCU%20Student%20Facing%2017052020%201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538b02a8d00f7f48/Attachments/Southern%20Water%20Corp%20Financial%20Case%20Study%20MCU%20Student%20Facing%2017052020%201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ouserg\AppData\Local\Microsoft\Windows\INetCache\Content.Outlook\M812FO2R\school%20work%20Southern%20Water%20Corp%20Financial%20Case%20Study%20MCU%20Student%20Facing%2017052020%201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ouserg\AppData\Local\Microsoft\Windows\INetCache\Content.Outlook\M812FO2R\school%20work%20Southern%20Water%20Corp%20Financial%20Case%20Study%20MCU%20Student%20Facing%2017052020%201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ouserg\AppData\Local\Microsoft\Windows\INetCache\Content.Outlook\M812FO2R\school%20work%20Southern%20Water%20Corp%20Financial%20Case%20Study%20MCU%20Student%20Facing%2017052020%201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dirty="0"/>
              <a:t>Total  Sales &amp; Sales </a:t>
            </a:r>
            <a:r>
              <a:rPr lang="en-US" sz="1600" b="1" baseline="0" dirty="0"/>
              <a:t>%</a:t>
            </a:r>
            <a:r>
              <a:rPr lang="en-US" sz="1600" b="1" dirty="0"/>
              <a:t> by Unit</a:t>
            </a:r>
          </a:p>
        </c:rich>
      </c:tx>
      <c:layout>
        <c:manualLayout>
          <c:xMode val="edge"/>
          <c:yMode val="edge"/>
          <c:x val="0.30592802224952964"/>
          <c:y val="2.059042425705908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9451985306979184"/>
          <c:y val="4.3583180074656086E-2"/>
          <c:w val="0.66382805667308031"/>
          <c:h val="0.77386912254922602"/>
        </c:manualLayout>
      </c:layout>
      <c:barChart>
        <c:barDir val="col"/>
        <c:grouping val="clustered"/>
        <c:varyColors val="0"/>
        <c:ser>
          <c:idx val="0"/>
          <c:order val="0"/>
          <c:tx>
            <c:v>Private</c:v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MCU Student Facing 17052020 1.xlsx]Revenue Analysis'!$A$57:$A$59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[Southern Water Corp Financial Case Study MCU Student Facing 17052020 1.xlsx]Revenue Analysis'!$B$57:$B$59</c:f>
              <c:numCache>
                <c:formatCode>"$"#,##0.00;[Red]\-"$"#,##0.00</c:formatCode>
                <c:ptCount val="3"/>
                <c:pt idx="0">
                  <c:v>37118738.908649988</c:v>
                </c:pt>
                <c:pt idx="1">
                  <c:v>82448062.153750017</c:v>
                </c:pt>
                <c:pt idx="2">
                  <c:v>67860510.57375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57-4E0B-9DE3-61A5C8FBC63F}"/>
            </c:ext>
          </c:extLst>
        </c:ser>
        <c:ser>
          <c:idx val="1"/>
          <c:order val="1"/>
          <c:tx>
            <c:v>Public</c:v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MCU Student Facing 17052020 1.xlsx]Revenue Analysis'!$A$57:$A$59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[Southern Water Corp Financial Case Study MCU Student Facing 17052020 1.xlsx]Revenue Analysis'!$C$57:$C$59</c:f>
              <c:numCache>
                <c:formatCode>"$"#,##0.00;[Red]\-"$"#,##0.00</c:formatCode>
                <c:ptCount val="3"/>
                <c:pt idx="0">
                  <c:v>18271699.227782957</c:v>
                </c:pt>
                <c:pt idx="1">
                  <c:v>70562398.047100008</c:v>
                </c:pt>
                <c:pt idx="2">
                  <c:v>58098022.0742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57-4E0B-9DE3-61A5C8FBC63F}"/>
            </c:ext>
          </c:extLst>
        </c:ser>
        <c:ser>
          <c:idx val="2"/>
          <c:order val="2"/>
          <c:tx>
            <c:v>Residential</c:v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MCU Student Facing 17052020 1.xlsx]Revenue Analysis'!$A$57:$A$59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[Southern Water Corp Financial Case Study MCU Student Facing 17052020 1.xlsx]Revenue Analysis'!$D$57:$D$59</c:f>
              <c:numCache>
                <c:formatCode>"$"#,##0.00;[Red]\-"$"#,##0.00</c:formatCode>
                <c:ptCount val="3"/>
                <c:pt idx="0">
                  <c:v>15554519.161720002</c:v>
                </c:pt>
                <c:pt idx="1">
                  <c:v>49244888.96814999</c:v>
                </c:pt>
                <c:pt idx="2">
                  <c:v>37706692.72894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A57-4E0B-9DE3-61A5C8FBC6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48591727"/>
        <c:axId val="959835199"/>
      </c:barChart>
      <c:lineChart>
        <c:grouping val="standard"/>
        <c:varyColors val="0"/>
        <c:ser>
          <c:idx val="3"/>
          <c:order val="3"/>
          <c:tx>
            <c:v>Private Sales %</c:v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spPr>
              <a:ln w="28575" cap="rnd">
                <a:solidFill>
                  <a:schemeClr val="bg1">
                    <a:lumMod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C-5A57-4E0B-9DE3-61A5C8FBC63F}"/>
              </c:ext>
            </c:extLst>
          </c:dPt>
          <c:val>
            <c:numRef>
              <c:f>'[Southern Water Corp Financial Case Study MCU Student Facing 17052020 1.xlsx]Revenue Analysis'!$B$62:$B$64</c:f>
              <c:numCache>
                <c:formatCode>0.0%</c:formatCode>
                <c:ptCount val="3"/>
                <c:pt idx="0">
                  <c:v>8.4966050656273107E-2</c:v>
                </c:pt>
                <c:pt idx="1">
                  <c:v>0.18872640696946189</c:v>
                </c:pt>
                <c:pt idx="2">
                  <c:v>0.155335007289974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A57-4E0B-9DE3-61A5C8FBC63F}"/>
            </c:ext>
          </c:extLst>
        </c:ser>
        <c:ser>
          <c:idx val="4"/>
          <c:order val="4"/>
          <c:tx>
            <c:v>Public Sales %</c:v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5A57-4E0B-9DE3-61A5C8FBC63F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28575" cap="rnd">
                <a:solidFill>
                  <a:schemeClr val="accent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5A57-4E0B-9DE3-61A5C8FBC63F}"/>
              </c:ext>
            </c:extLst>
          </c:dPt>
          <c:val>
            <c:numRef>
              <c:f>'[Southern Water Corp Financial Case Study MCU Student Facing 17052020 1.xlsx]Revenue Analysis'!$C$62:$C$64</c:f>
              <c:numCache>
                <c:formatCode>0.0%</c:formatCode>
                <c:ptCount val="3"/>
                <c:pt idx="0">
                  <c:v>4.1824538435550437E-2</c:v>
                </c:pt>
                <c:pt idx="1">
                  <c:v>0.16151971923541997</c:v>
                </c:pt>
                <c:pt idx="2">
                  <c:v>0.132988340437500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5A57-4E0B-9DE3-61A5C8FBC63F}"/>
            </c:ext>
          </c:extLst>
        </c:ser>
        <c:ser>
          <c:idx val="5"/>
          <c:order val="5"/>
          <c:tx>
            <c:v>Residential Sales %</c:v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9-5A57-4E0B-9DE3-61A5C8FBC63F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5A57-4E0B-9DE3-61A5C8FBC63F}"/>
              </c:ext>
            </c:extLst>
          </c:dPt>
          <c:val>
            <c:numRef>
              <c:f>'[Southern Water Corp Financial Case Study MCU Student Facing 17052020 1.xlsx]Revenue Analysis'!$D$62:$D$64</c:f>
              <c:numCache>
                <c:formatCode>0.0%</c:formatCode>
                <c:ptCount val="3"/>
                <c:pt idx="0">
                  <c:v>3.560482122739065E-2</c:v>
                </c:pt>
                <c:pt idx="1">
                  <c:v>0.11272321888218358</c:v>
                </c:pt>
                <c:pt idx="2">
                  <c:v>8.631189686624544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5A57-4E0B-9DE3-61A5C8FBC6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1734528"/>
        <c:axId val="519513072"/>
      </c:lineChart>
      <c:catAx>
        <c:axId val="6485917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9835199"/>
        <c:crosses val="autoZero"/>
        <c:auto val="1"/>
        <c:lblAlgn val="ctr"/>
        <c:lblOffset val="100"/>
        <c:noMultiLvlLbl val="0"/>
      </c:catAx>
      <c:valAx>
        <c:axId val="95983519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t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/>
                  <a:t>Revenue</a:t>
                </a:r>
              </a:p>
            </c:rich>
          </c:tx>
          <c:layout>
            <c:manualLayout>
              <c:xMode val="edge"/>
              <c:yMode val="edge"/>
              <c:x val="4.7769258990045665E-2"/>
              <c:y val="0.3174625934024956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t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8591727"/>
        <c:crosses val="autoZero"/>
        <c:crossBetween val="between"/>
      </c:valAx>
      <c:valAx>
        <c:axId val="519513072"/>
        <c:scaling>
          <c:orientation val="minMax"/>
          <c:max val="0.2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0" spcFirstLastPara="1" vertOverflow="ellipsis" wrap="square" anchor="t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1734528"/>
        <c:crosses val="max"/>
        <c:crossBetween val="between"/>
      </c:valAx>
      <c:catAx>
        <c:axId val="521734528"/>
        <c:scaling>
          <c:orientation val="minMax"/>
        </c:scaling>
        <c:delete val="1"/>
        <c:axPos val="b"/>
        <c:majorTickMark val="out"/>
        <c:minorTickMark val="none"/>
        <c:tickLblPos val="nextTo"/>
        <c:crossAx val="51951307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6509264961638613E-2"/>
          <c:y val="0.9038641242247194"/>
          <c:w val="0.90333073703531364"/>
          <c:h val="8.616526064982332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/>
              <a:t>Chemical</a:t>
            </a:r>
            <a:r>
              <a:rPr lang="en-US" sz="1600" b="1" baseline="0"/>
              <a:t> Expenditures </a:t>
            </a:r>
            <a:r>
              <a:rPr lang="en-US" sz="1600" b="1"/>
              <a:t>to Giga-Liters</a:t>
            </a:r>
            <a:r>
              <a:rPr lang="en-US" sz="1600" b="1" baseline="0"/>
              <a:t> Production</a:t>
            </a:r>
            <a:endParaRPr lang="en-US" sz="1600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4722917621466497"/>
          <c:y val="0.12556924920174248"/>
          <c:w val="0.75863944665575667"/>
          <c:h val="0.64059298675466225"/>
        </c:manualLayout>
      </c:layout>
      <c:barChart>
        <c:barDir val="col"/>
        <c:grouping val="clustered"/>
        <c:varyColors val="0"/>
        <c:ser>
          <c:idx val="0"/>
          <c:order val="0"/>
          <c:tx>
            <c:v>Kootha</c:v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5:$Q$105</c:f>
              <c:numCache>
                <c:formatCode>"$"#,##0.00;[Red]\-"$"#,##0.00</c:formatCode>
                <c:ptCount val="12"/>
                <c:pt idx="0">
                  <c:v>593751.84077137313</c:v>
                </c:pt>
                <c:pt idx="1">
                  <c:v>820393.03401412489</c:v>
                </c:pt>
                <c:pt idx="2">
                  <c:v>642291.58212862327</c:v>
                </c:pt>
                <c:pt idx="3">
                  <c:v>609639.97288837493</c:v>
                </c:pt>
                <c:pt idx="4">
                  <c:v>626073.16897124995</c:v>
                </c:pt>
                <c:pt idx="5">
                  <c:v>602153.37789750006</c:v>
                </c:pt>
                <c:pt idx="6">
                  <c:v>1146143.9846999997</c:v>
                </c:pt>
                <c:pt idx="7">
                  <c:v>964931.83751249989</c:v>
                </c:pt>
                <c:pt idx="8">
                  <c:v>962733.95790000004</c:v>
                </c:pt>
                <c:pt idx="9">
                  <c:v>964825.21760624985</c:v>
                </c:pt>
                <c:pt idx="10">
                  <c:v>1024534.78359375</c:v>
                </c:pt>
                <c:pt idx="11">
                  <c:v>1168045.2256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02-4710-BDB7-70824DAE668C}"/>
            </c:ext>
          </c:extLst>
        </c:ser>
        <c:ser>
          <c:idx val="1"/>
          <c:order val="1"/>
          <c:tx>
            <c:v>Surjek</c:v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6:$Q$106</c:f>
              <c:numCache>
                <c:formatCode>"$"#,##0.00;[Red]\-"$"#,##0.00</c:formatCode>
                <c:ptCount val="12"/>
                <c:pt idx="0">
                  <c:v>2533034.5131168002</c:v>
                </c:pt>
                <c:pt idx="1">
                  <c:v>3051574.1625600001</c:v>
                </c:pt>
                <c:pt idx="2">
                  <c:v>3084202.7580672004</c:v>
                </c:pt>
                <c:pt idx="3">
                  <c:v>4135202.765971201</c:v>
                </c:pt>
                <c:pt idx="4">
                  <c:v>4473275.8948415993</c:v>
                </c:pt>
                <c:pt idx="5">
                  <c:v>3464957.9260800011</c:v>
                </c:pt>
                <c:pt idx="6">
                  <c:v>4049642.8266000003</c:v>
                </c:pt>
                <c:pt idx="7">
                  <c:v>4767948.2214000002</c:v>
                </c:pt>
                <c:pt idx="8">
                  <c:v>4346722.8083999995</c:v>
                </c:pt>
                <c:pt idx="9">
                  <c:v>4671541.1274000006</c:v>
                </c:pt>
                <c:pt idx="10">
                  <c:v>5478104.6040000012</c:v>
                </c:pt>
                <c:pt idx="11">
                  <c:v>2269805.16672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02-4710-BDB7-70824DAE668C}"/>
            </c:ext>
          </c:extLst>
        </c:ser>
        <c:ser>
          <c:idx val="2"/>
          <c:order val="2"/>
          <c:tx>
            <c:v>Jutik</c:v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7:$Q$107</c:f>
              <c:numCache>
                <c:formatCode>"$"#,##0.00;[Red]\-"$"#,##0.00</c:formatCode>
                <c:ptCount val="12"/>
                <c:pt idx="0">
                  <c:v>1625596.3356633</c:v>
                </c:pt>
                <c:pt idx="1">
                  <c:v>1295067.8472731998</c:v>
                </c:pt>
                <c:pt idx="2">
                  <c:v>1750624.8818057997</c:v>
                </c:pt>
                <c:pt idx="3">
                  <c:v>1472529.3869285996</c:v>
                </c:pt>
                <c:pt idx="4">
                  <c:v>1252200.4923928501</c:v>
                </c:pt>
                <c:pt idx="5">
                  <c:v>1406782.6738875001</c:v>
                </c:pt>
                <c:pt idx="6">
                  <c:v>1877449.5046125001</c:v>
                </c:pt>
                <c:pt idx="7">
                  <c:v>1912219.1750437501</c:v>
                </c:pt>
                <c:pt idx="8">
                  <c:v>2266625.1980531253</c:v>
                </c:pt>
                <c:pt idx="9">
                  <c:v>2234200.5744250002</c:v>
                </c:pt>
                <c:pt idx="10">
                  <c:v>2593715.6428375002</c:v>
                </c:pt>
                <c:pt idx="11">
                  <c:v>2274807.7859325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02-4710-BDB7-70824DAE66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52119695"/>
        <c:axId val="1015777968"/>
      </c:barChart>
      <c:lineChart>
        <c:grouping val="standard"/>
        <c:varyColors val="0"/>
        <c:ser>
          <c:idx val="3"/>
          <c:order val="3"/>
          <c:tx>
            <c:v>Kootha Water</c:v>
          </c:tx>
          <c:spPr>
            <a:ln w="5080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Pt>
            <c:idx val="11"/>
            <c:marker>
              <c:symbol val="none"/>
            </c:marker>
            <c:bubble3D val="0"/>
            <c:spPr>
              <a:ln w="50800" cap="rnd">
                <a:solidFill>
                  <a:srgbClr val="0070C0"/>
                </a:solidFill>
                <a:round/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4-D902-4710-BDB7-70824DAE668C}"/>
              </c:ext>
            </c:extLst>
          </c:dPt>
          <c:val>
            <c:numRef>
              <c:f>'Expenses Analysis'!$F$108:$Q$108</c:f>
              <c:numCache>
                <c:formatCode>#,##0.00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42.508716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902-4710-BDB7-70824DAE668C}"/>
            </c:ext>
          </c:extLst>
        </c:ser>
        <c:ser>
          <c:idx val="4"/>
          <c:order val="4"/>
          <c:tx>
            <c:v>Surjek Water</c:v>
          </c:tx>
          <c:spPr>
            <a:ln w="50800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val>
            <c:numRef>
              <c:f>'Expenses Analysis'!$F$109:$Q$109</c:f>
              <c:numCache>
                <c:formatCode>#,##0.00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902-4710-BDB7-70824DAE668C}"/>
            </c:ext>
          </c:extLst>
        </c:ser>
        <c:ser>
          <c:idx val="5"/>
          <c:order val="5"/>
          <c:tx>
            <c:v>Jutik Water</c:v>
          </c:tx>
          <c:spPr>
            <a:ln w="50800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val>
            <c:numRef>
              <c:f>'Expenses Analysis'!$F$110:$Q$110</c:f>
              <c:numCache>
                <c:formatCode>#,##0.00</c:formatCode>
                <c:ptCount val="12"/>
                <c:pt idx="0">
                  <c:v>250.24199099999998</c:v>
                </c:pt>
                <c:pt idx="1">
                  <c:v>206.740703</c:v>
                </c:pt>
                <c:pt idx="2">
                  <c:v>201.23546099999996</c:v>
                </c:pt>
                <c:pt idx="3">
                  <c:v>174.36956599999999</c:v>
                </c:pt>
                <c:pt idx="4">
                  <c:v>204.09105</c:v>
                </c:pt>
                <c:pt idx="5">
                  <c:v>146.35666599999999</c:v>
                </c:pt>
                <c:pt idx="6">
                  <c:v>204.20249700000002</c:v>
                </c:pt>
                <c:pt idx="7">
                  <c:v>217.43019900000002</c:v>
                </c:pt>
                <c:pt idx="8">
                  <c:v>230.98220000000001</c:v>
                </c:pt>
                <c:pt idx="9">
                  <c:v>236.441136</c:v>
                </c:pt>
                <c:pt idx="10">
                  <c:v>241.40736899999999</c:v>
                </c:pt>
                <c:pt idx="11">
                  <c:v>220.380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902-4710-BDB7-70824DAE66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52011695"/>
        <c:axId val="1015762576"/>
      </c:lineChart>
      <c:dateAx>
        <c:axId val="1952119695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39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5777968"/>
        <c:crosses val="autoZero"/>
        <c:auto val="1"/>
        <c:lblOffset val="100"/>
        <c:baseTimeUnit val="months"/>
      </c:dateAx>
      <c:valAx>
        <c:axId val="10157779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/>
                  <a:t>Chemical</a:t>
                </a:r>
                <a:r>
                  <a:rPr lang="en-US" sz="1400" b="1" baseline="0"/>
                  <a:t> Costs</a:t>
                </a:r>
                <a:endParaRPr lang="en-US" sz="1400" b="1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2119695"/>
        <c:crosses val="autoZero"/>
        <c:crossBetween val="between"/>
      </c:valAx>
      <c:valAx>
        <c:axId val="1015762576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/>
                  <a:t>Giga-Liter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2011695"/>
        <c:crosses val="max"/>
        <c:crossBetween val="between"/>
      </c:valAx>
      <c:catAx>
        <c:axId val="1952011695"/>
        <c:scaling>
          <c:orientation val="minMax"/>
        </c:scaling>
        <c:delete val="1"/>
        <c:axPos val="b"/>
        <c:majorTickMark val="out"/>
        <c:minorTickMark val="none"/>
        <c:tickLblPos val="nextTo"/>
        <c:crossAx val="101576257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1861443897577139E-2"/>
          <c:y val="0.8637563864565615"/>
          <c:w val="0.82159014167266176"/>
          <c:h val="0.1362198204733552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/>
              <a:t>Monthly EBIT Trends</a:t>
            </a:r>
          </a:p>
        </c:rich>
      </c:tx>
      <c:layout>
        <c:manualLayout>
          <c:xMode val="edge"/>
          <c:yMode val="edge"/>
          <c:x val="0.4062220444762516"/>
          <c:y val="9.0917974447753836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948861918609793"/>
          <c:y val="4.802999136247587E-2"/>
          <c:w val="0.86322670114204914"/>
          <c:h val="0.91457345123868494"/>
        </c:manualLayout>
      </c:layout>
      <c:barChart>
        <c:barDir val="col"/>
        <c:grouping val="clustered"/>
        <c:varyColors val="0"/>
        <c:ser>
          <c:idx val="1"/>
          <c:order val="0"/>
          <c:tx>
            <c:v>Kootha </c:v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8A96-4260-BB1D-0D4D215D071D}"/>
              </c:ext>
            </c:extLst>
          </c:dPt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3:$P$23</c:f>
              <c:numCache>
                <c:formatCode>"$"#,##0.00;[Red]\-"$"#,##0.00</c:formatCode>
                <c:ptCount val="12"/>
                <c:pt idx="0">
                  <c:v>2456292.3275362095</c:v>
                </c:pt>
                <c:pt idx="1">
                  <c:v>918310.88787430618</c:v>
                </c:pt>
                <c:pt idx="2">
                  <c:v>1519674.7670411356</c:v>
                </c:pt>
                <c:pt idx="3">
                  <c:v>1671126.6978958244</c:v>
                </c:pt>
                <c:pt idx="4">
                  <c:v>1867603.7439484252</c:v>
                </c:pt>
                <c:pt idx="5">
                  <c:v>1873668.8420387572</c:v>
                </c:pt>
                <c:pt idx="6">
                  <c:v>2572779.3705296321</c:v>
                </c:pt>
                <c:pt idx="7">
                  <c:v>2504531.9499788238</c:v>
                </c:pt>
                <c:pt idx="8">
                  <c:v>2888063.9198026378</c:v>
                </c:pt>
                <c:pt idx="9">
                  <c:v>912936.10019635595</c:v>
                </c:pt>
                <c:pt idx="10">
                  <c:v>702117.95209483802</c:v>
                </c:pt>
                <c:pt idx="11">
                  <c:v>-165973.353111461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EA-46B3-9A75-13D2C8B2B177}"/>
            </c:ext>
          </c:extLst>
        </c:ser>
        <c:ser>
          <c:idx val="2"/>
          <c:order val="1"/>
          <c:tx>
            <c:v>Surjek</c:v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4:$P$24</c:f>
              <c:numCache>
                <c:formatCode>"$"#,##0.00;[Red]\-"$"#,##0.00</c:formatCode>
                <c:ptCount val="12"/>
                <c:pt idx="0">
                  <c:v>5988499.8026137892</c:v>
                </c:pt>
                <c:pt idx="1">
                  <c:v>943434.10160639696</c:v>
                </c:pt>
                <c:pt idx="2">
                  <c:v>2328952.4387191646</c:v>
                </c:pt>
                <c:pt idx="3">
                  <c:v>-3360291.110331079</c:v>
                </c:pt>
                <c:pt idx="4">
                  <c:v>-6192464.2872408964</c:v>
                </c:pt>
                <c:pt idx="5">
                  <c:v>2604016.9804607946</c:v>
                </c:pt>
                <c:pt idx="6">
                  <c:v>8366591.2969236001</c:v>
                </c:pt>
                <c:pt idx="7">
                  <c:v>2112457.573284395</c:v>
                </c:pt>
                <c:pt idx="8">
                  <c:v>4631100.2007863969</c:v>
                </c:pt>
                <c:pt idx="9">
                  <c:v>2132931.991960397</c:v>
                </c:pt>
                <c:pt idx="10">
                  <c:v>-4294074.8102160059</c:v>
                </c:pt>
                <c:pt idx="11">
                  <c:v>7675095.9504671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EA-46B3-9A75-13D2C8B2B177}"/>
            </c:ext>
          </c:extLst>
        </c:ser>
        <c:ser>
          <c:idx val="3"/>
          <c:order val="2"/>
          <c:tx>
            <c:v>Jutik</c:v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5:$P$25</c:f>
              <c:numCache>
                <c:formatCode>"$"#,##0.00;[Red]\-"$"#,##0.00</c:formatCode>
                <c:ptCount val="12"/>
                <c:pt idx="0">
                  <c:v>4547848.2127075791</c:v>
                </c:pt>
                <c:pt idx="1">
                  <c:v>6542227.6080423184</c:v>
                </c:pt>
                <c:pt idx="2">
                  <c:v>4438176.8988530822</c:v>
                </c:pt>
                <c:pt idx="3">
                  <c:v>4415960.6020003622</c:v>
                </c:pt>
                <c:pt idx="4">
                  <c:v>5589126.5717249103</c:v>
                </c:pt>
                <c:pt idx="5">
                  <c:v>5264580.3424524991</c:v>
                </c:pt>
                <c:pt idx="6">
                  <c:v>8292411.5891714972</c:v>
                </c:pt>
                <c:pt idx="7">
                  <c:v>8295134.2778322492</c:v>
                </c:pt>
                <c:pt idx="8">
                  <c:v>5460903.0204648729</c:v>
                </c:pt>
                <c:pt idx="9">
                  <c:v>8279084.1609189995</c:v>
                </c:pt>
                <c:pt idx="10">
                  <c:v>6175874.2250345014</c:v>
                </c:pt>
                <c:pt idx="11">
                  <c:v>5640408.5879914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EA-46B3-9A75-13D2C8B2B1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52046495"/>
        <c:axId val="1879237647"/>
      </c:barChart>
      <c:dateAx>
        <c:axId val="1952046495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b" anchorCtr="0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79237647"/>
        <c:crosses val="autoZero"/>
        <c:auto val="0"/>
        <c:lblOffset val="100"/>
        <c:baseTimeUnit val="months"/>
      </c:dateAx>
      <c:valAx>
        <c:axId val="18792376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2046495"/>
        <c:crossesAt val="1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4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Overall</a:t>
            </a:r>
            <a:r>
              <a:rPr lang="en-US" baseline="0" dirty="0"/>
              <a:t> EBIT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9071671854971617"/>
          <c:y val="5.013980532635972E-2"/>
          <c:w val="0.67644769985147202"/>
          <c:h val="0.7583959878437545"/>
        </c:manualLayout>
      </c:layout>
      <c:barChart>
        <c:barDir val="col"/>
        <c:grouping val="clustered"/>
        <c:varyColors val="0"/>
        <c:ser>
          <c:idx val="0"/>
          <c:order val="0"/>
          <c:tx>
            <c:v>EBIT Total</c:v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2.69983567141937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18D-4983-9217-F9460DBA5A5A}"/>
                </c:ext>
              </c:extLst>
            </c:dLbl>
            <c:dLbl>
              <c:idx val="1"/>
              <c:layout>
                <c:manualLayout>
                  <c:x val="0"/>
                  <c:y val="-7.71381620405534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18D-4983-9217-F9460DBA5A5A}"/>
                </c:ext>
              </c:extLst>
            </c:dLbl>
            <c:dLbl>
              <c:idx val="2"/>
              <c:layout>
                <c:manualLayout>
                  <c:x val="0"/>
                  <c:y val="-2.31414486121660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18D-4983-9217-F9460DBA5A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BIT Analysis'!$A$23:$A$25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BIT Analysis'!$Q$23:$Q$25</c:f>
              <c:numCache>
                <c:formatCode>"$"#,##0.00;[Red]\-"$"#,##0.00</c:formatCode>
                <c:ptCount val="3"/>
                <c:pt idx="0">
                  <c:v>19721133.205825485</c:v>
                </c:pt>
                <c:pt idx="1">
                  <c:v>22936250.12903415</c:v>
                </c:pt>
                <c:pt idx="2">
                  <c:v>72941736.0971943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18D-4983-9217-F9460DBA5A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796687567"/>
        <c:axId val="624265439"/>
      </c:barChart>
      <c:lineChart>
        <c:grouping val="standard"/>
        <c:varyColors val="0"/>
        <c:ser>
          <c:idx val="1"/>
          <c:order val="1"/>
          <c:tx>
            <c:v>EBIT Margin</c:v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9.9946836788942048E-2"/>
                  <c:y val="-1.12201947012998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18D-4983-9217-F9460DBA5A5A}"/>
                </c:ext>
              </c:extLst>
            </c:dLbl>
            <c:dLbl>
              <c:idx val="1"/>
              <c:layout>
                <c:manualLayout>
                  <c:x val="3.6150983519404496E-2"/>
                  <c:y val="3.74006490043328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18D-4983-9217-F9460DBA5A5A}"/>
                </c:ext>
              </c:extLst>
            </c:dLbl>
            <c:dLbl>
              <c:idx val="2"/>
              <c:layout>
                <c:manualLayout>
                  <c:x val="3.4024455077086499E-2"/>
                  <c:y val="-3.4283532207682216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18D-4983-9217-F9460DBA5A5A}"/>
                </c:ext>
              </c:extLst>
            </c:dLbl>
            <c:spPr>
              <a:noFill/>
              <a:ln>
                <a:solidFill>
                  <a:srgbClr val="FFC000"/>
                </a:solidFill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BIT Analysis'!$A$23:$A$25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BIT Analysis'!$Q$56:$Q$58</c:f>
              <c:numCache>
                <c:formatCode>0.00%</c:formatCode>
                <c:ptCount val="3"/>
                <c:pt idx="0">
                  <c:v>0.27797794172946699</c:v>
                </c:pt>
                <c:pt idx="1">
                  <c:v>0.11340244014940312</c:v>
                </c:pt>
                <c:pt idx="2">
                  <c:v>0.445676446717220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18D-4983-9217-F9460DBA5A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23738000"/>
        <c:axId val="624227999"/>
      </c:lineChart>
      <c:catAx>
        <c:axId val="7966875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4265439"/>
        <c:crosses val="autoZero"/>
        <c:auto val="1"/>
        <c:lblAlgn val="ctr"/>
        <c:lblOffset val="100"/>
        <c:noMultiLvlLbl val="0"/>
      </c:catAx>
      <c:valAx>
        <c:axId val="6242654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BIT Total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6687567"/>
        <c:crosses val="autoZero"/>
        <c:crossBetween val="between"/>
      </c:valAx>
      <c:valAx>
        <c:axId val="624227999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BIT Margi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3738000"/>
        <c:crosses val="max"/>
        <c:crossBetween val="between"/>
      </c:valAx>
      <c:catAx>
        <c:axId val="12237380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2422799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263438116747035"/>
          <c:y val="0.90704436819986767"/>
          <c:w val="0.35971531465543549"/>
          <c:h val="8.25981857342899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rgbClr val="FFC000"/>
      </a:solidFill>
    </a:ln>
    <a:effectLst/>
  </c:spPr>
  <c:txPr>
    <a:bodyPr/>
    <a:lstStyle/>
    <a:p>
      <a:pPr>
        <a:defRPr b="1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Private Water Revenue</a:t>
            </a:r>
          </a:p>
          <a:p>
            <a:pPr>
              <a:defRPr/>
            </a:pP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0"/>
          <c:tx>
            <c:v>Kootha</c:v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17052020 1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17052020 1.xlsx]Revenue Analysis'!$E$34:$P$34</c:f>
              <c:numCache>
                <c:formatCode>"$"#,##0.00;[Red]\-"$"#,##0.00</c:formatCode>
                <c:ptCount val="12"/>
                <c:pt idx="0">
                  <c:v>3094536.9986999994</c:v>
                </c:pt>
                <c:pt idx="1">
                  <c:v>2980521.8105250001</c:v>
                </c:pt>
                <c:pt idx="2">
                  <c:v>2752413.7409999999</c:v>
                </c:pt>
                <c:pt idx="3">
                  <c:v>2732151.9371999996</c:v>
                </c:pt>
                <c:pt idx="4">
                  <c:v>2885028.0122999996</c:v>
                </c:pt>
                <c:pt idx="5">
                  <c:v>2815308.3782250006</c:v>
                </c:pt>
                <c:pt idx="6">
                  <c:v>4092821.3597249994</c:v>
                </c:pt>
                <c:pt idx="7">
                  <c:v>3622839.5636999998</c:v>
                </c:pt>
                <c:pt idx="8">
                  <c:v>3818238.1009499999</c:v>
                </c:pt>
                <c:pt idx="9">
                  <c:v>2789853.534825</c:v>
                </c:pt>
                <c:pt idx="10">
                  <c:v>2822646.2911499999</c:v>
                </c:pt>
                <c:pt idx="11">
                  <c:v>2712379.1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591-4539-BCB7-220FDAFDE690}"/>
            </c:ext>
          </c:extLst>
        </c:ser>
        <c:ser>
          <c:idx val="0"/>
          <c:order val="1"/>
          <c:tx>
            <c:v>Serjek</c:v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17052020 1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17052020 1.xlsx]Revenue Analysis'!$E$37:$P$37</c:f>
              <c:numCache>
                <c:formatCode>"$"#,##0.00;[Red]\-"$"#,##0.00</c:formatCode>
                <c:ptCount val="12"/>
                <c:pt idx="0">
                  <c:v>7220021.2387499996</c:v>
                </c:pt>
                <c:pt idx="1">
                  <c:v>6085131.0149999997</c:v>
                </c:pt>
                <c:pt idx="2">
                  <c:v>6723291.7162500005</c:v>
                </c:pt>
                <c:pt idx="3">
                  <c:v>6313180.5299999993</c:v>
                </c:pt>
                <c:pt idx="4">
                  <c:v>5763708.6674999995</c:v>
                </c:pt>
                <c:pt idx="5">
                  <c:v>6484566.5099999998</c:v>
                </c:pt>
                <c:pt idx="6">
                  <c:v>9314190.6750000007</c:v>
                </c:pt>
                <c:pt idx="7">
                  <c:v>6750396.1374999993</c:v>
                </c:pt>
                <c:pt idx="8">
                  <c:v>8185283.6587499995</c:v>
                </c:pt>
                <c:pt idx="9">
                  <c:v>6778514.602500001</c:v>
                </c:pt>
                <c:pt idx="10">
                  <c:v>6094707.7050000001</c:v>
                </c:pt>
                <c:pt idx="11">
                  <c:v>6735069.6974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591-4539-BCB7-220FDAFDE690}"/>
            </c:ext>
          </c:extLst>
        </c:ser>
        <c:ser>
          <c:idx val="2"/>
          <c:order val="2"/>
          <c:tx>
            <c:v>Jutik</c:v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17052020 1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17052020 1.xlsx]Revenue Analysis'!$E$40:$P$40</c:f>
              <c:numCache>
                <c:formatCode>"$"#,##0.00;[Red]\-"$"#,##0.00</c:formatCode>
                <c:ptCount val="12"/>
                <c:pt idx="0">
                  <c:v>5298686.1637500003</c:v>
                </c:pt>
                <c:pt idx="1">
                  <c:v>5854268.2837499995</c:v>
                </c:pt>
                <c:pt idx="2">
                  <c:v>5098113.7162500005</c:v>
                </c:pt>
                <c:pt idx="3">
                  <c:v>4506567.6112500001</c:v>
                </c:pt>
                <c:pt idx="4">
                  <c:v>4950718.5187500007</c:v>
                </c:pt>
                <c:pt idx="5">
                  <c:v>4219638.2549999999</c:v>
                </c:pt>
                <c:pt idx="6">
                  <c:v>6454620.584999999</c:v>
                </c:pt>
                <c:pt idx="7">
                  <c:v>6573684.678749999</c:v>
                </c:pt>
                <c:pt idx="8">
                  <c:v>5896579.8487499999</c:v>
                </c:pt>
                <c:pt idx="9">
                  <c:v>6254734.0800000001</c:v>
                </c:pt>
                <c:pt idx="10">
                  <c:v>6161098.0612500003</c:v>
                </c:pt>
                <c:pt idx="11">
                  <c:v>6591800.77125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591-4539-BCB7-220FDAFDE6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24416559"/>
        <c:axId val="933046063"/>
      </c:lineChart>
      <c:dateAx>
        <c:axId val="924416559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3046063"/>
        <c:crosses val="autoZero"/>
        <c:auto val="1"/>
        <c:lblOffset val="100"/>
        <c:baseTimeUnit val="months"/>
      </c:dateAx>
      <c:valAx>
        <c:axId val="93304606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244165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4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Public Water Revenue</a:t>
            </a:r>
          </a:p>
          <a:p>
            <a:pPr>
              <a:defRPr/>
            </a:pP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0"/>
          <c:tx>
            <c:v>Kootha</c:v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17052020 1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17052020 1.xlsx]Revenue Analysis'!$E$35:$P$35</c:f>
              <c:numCache>
                <c:formatCode>"$"#,##0.00;[Red]\-"$"#,##0.00</c:formatCode>
                <c:ptCount val="12"/>
                <c:pt idx="0">
                  <c:v>1523285.8376100748</c:v>
                </c:pt>
                <c:pt idx="1">
                  <c:v>1467161.8612309312</c:v>
                </c:pt>
                <c:pt idx="2">
                  <c:v>1354875.66400725</c:v>
                </c:pt>
                <c:pt idx="3">
                  <c:v>1344901.7910867</c:v>
                </c:pt>
                <c:pt idx="4">
                  <c:v>1420155.039054675</c:v>
                </c:pt>
                <c:pt idx="5">
                  <c:v>1385835.5491812564</c:v>
                </c:pt>
                <c:pt idx="6">
                  <c:v>2014691.3143246307</c:v>
                </c:pt>
                <c:pt idx="7">
                  <c:v>1783342.7752313251</c:v>
                </c:pt>
                <c:pt idx="8">
                  <c:v>1879527.7051926372</c:v>
                </c:pt>
                <c:pt idx="9">
                  <c:v>1373305.4025176065</c:v>
                </c:pt>
                <c:pt idx="10">
                  <c:v>1389447.6368185873</c:v>
                </c:pt>
                <c:pt idx="11">
                  <c:v>1335168.65152728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54-4CB4-8543-76E62C90C6FF}"/>
            </c:ext>
          </c:extLst>
        </c:ser>
        <c:ser>
          <c:idx val="0"/>
          <c:order val="1"/>
          <c:tx>
            <c:v>Serjek</c:v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17052020 1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17052020 1.xlsx]Revenue Analysis'!$E$38:$P$38</c:f>
              <c:numCache>
                <c:formatCode>"$"#,##0.00;[Red]\-"$"#,##0.00</c:formatCode>
                <c:ptCount val="12"/>
                <c:pt idx="0">
                  <c:v>5968550.8906999994</c:v>
                </c:pt>
                <c:pt idx="1">
                  <c:v>5030374.9724000003</c:v>
                </c:pt>
                <c:pt idx="2">
                  <c:v>5557921.1521000005</c:v>
                </c:pt>
                <c:pt idx="3">
                  <c:v>5218895.9047999997</c:v>
                </c:pt>
                <c:pt idx="4">
                  <c:v>4764665.8318000007</c:v>
                </c:pt>
                <c:pt idx="5">
                  <c:v>5360574.9815999996</c:v>
                </c:pt>
                <c:pt idx="6">
                  <c:v>7699730.9580000006</c:v>
                </c:pt>
                <c:pt idx="7">
                  <c:v>6985660.807</c:v>
                </c:pt>
                <c:pt idx="8">
                  <c:v>6766501.1579</c:v>
                </c:pt>
                <c:pt idx="9">
                  <c:v>6603572.0713999998</c:v>
                </c:pt>
                <c:pt idx="10">
                  <c:v>5038291.7028000001</c:v>
                </c:pt>
                <c:pt idx="11">
                  <c:v>5567657.6166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954-4CB4-8543-76E62C90C6FF}"/>
            </c:ext>
          </c:extLst>
        </c:ser>
        <c:ser>
          <c:idx val="2"/>
          <c:order val="2"/>
          <c:tx>
            <c:v>Jutik</c:v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17052020 1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17052020 1.xlsx]Revenue Analysis'!$E$41:$P$41</c:f>
              <c:numCache>
                <c:formatCode>"$"#,##0.00;[Red]\-"$"#,##0.00</c:formatCode>
                <c:ptCount val="12"/>
                <c:pt idx="0">
                  <c:v>4380247.2286999999</c:v>
                </c:pt>
                <c:pt idx="1">
                  <c:v>3839528.4479</c:v>
                </c:pt>
                <c:pt idx="2">
                  <c:v>5214440.6721000001</c:v>
                </c:pt>
                <c:pt idx="3">
                  <c:v>4725429.2253</c:v>
                </c:pt>
                <c:pt idx="4">
                  <c:v>4092593.9755000006</c:v>
                </c:pt>
                <c:pt idx="5">
                  <c:v>4488234.2907999996</c:v>
                </c:pt>
                <c:pt idx="6">
                  <c:v>5335819.6836000001</c:v>
                </c:pt>
                <c:pt idx="7">
                  <c:v>5434246.0011</c:v>
                </c:pt>
                <c:pt idx="8">
                  <c:v>4874506.0082999999</c:v>
                </c:pt>
                <c:pt idx="9">
                  <c:v>5170580.1728000008</c:v>
                </c:pt>
                <c:pt idx="10">
                  <c:v>5093174.3973000003</c:v>
                </c:pt>
                <c:pt idx="11">
                  <c:v>5449221.9709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954-4CB4-8543-76E62C90C6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24416559"/>
        <c:axId val="933046063"/>
      </c:lineChart>
      <c:dateAx>
        <c:axId val="924416559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3046063"/>
        <c:crosses val="autoZero"/>
        <c:auto val="1"/>
        <c:lblOffset val="100"/>
        <c:baseTimeUnit val="months"/>
      </c:dateAx>
      <c:valAx>
        <c:axId val="933046063"/>
        <c:scaling>
          <c:orientation val="minMax"/>
          <c:max val="1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244165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4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Residential Water Revenue</a:t>
            </a:r>
          </a:p>
          <a:p>
            <a:pPr>
              <a:defRPr/>
            </a:pP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0"/>
          <c:tx>
            <c:v>Kootha</c:v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17052020 1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17052020 1.xlsx]Revenue Analysis'!$E$36:$P$36</c:f>
              <c:numCache>
                <c:formatCode>"$"#,##0.00;[Red]\-"$"#,##0.00</c:formatCode>
                <c:ptCount val="12"/>
                <c:pt idx="0">
                  <c:v>1296758.36136</c:v>
                </c:pt>
                <c:pt idx="1">
                  <c:v>1248980.56822</c:v>
                </c:pt>
                <c:pt idx="2">
                  <c:v>1153392.4247999999</c:v>
                </c:pt>
                <c:pt idx="3">
                  <c:v>1144901.76416</c:v>
                </c:pt>
                <c:pt idx="4">
                  <c:v>1208964.11944</c:v>
                </c:pt>
                <c:pt idx="5">
                  <c:v>1179748.2727800002</c:v>
                </c:pt>
                <c:pt idx="6">
                  <c:v>1715087.0459799999</c:v>
                </c:pt>
                <c:pt idx="7">
                  <c:v>1518142.2933600002</c:v>
                </c:pt>
                <c:pt idx="8">
                  <c:v>1600023.58516</c:v>
                </c:pt>
                <c:pt idx="9">
                  <c:v>1169081.4812600003</c:v>
                </c:pt>
                <c:pt idx="10">
                  <c:v>1182823.2077200001</c:v>
                </c:pt>
                <c:pt idx="11">
                  <c:v>1136616.03748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B94-46C6-BC9D-5765DB6DBB0D}"/>
            </c:ext>
          </c:extLst>
        </c:ser>
        <c:ser>
          <c:idx val="0"/>
          <c:order val="1"/>
          <c:tx>
            <c:v>Serjek</c:v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17052020 1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17052020 1.xlsx]Revenue Analysis'!$E$39:$P$39</c:f>
              <c:numCache>
                <c:formatCode>"$"#,##0.00;[Red]\-"$"#,##0.00</c:formatCode>
                <c:ptCount val="12"/>
                <c:pt idx="0">
                  <c:v>4139478.8435499985</c:v>
                </c:pt>
                <c:pt idx="1">
                  <c:v>3488808.4485999988</c:v>
                </c:pt>
                <c:pt idx="2">
                  <c:v>3854687.2506499989</c:v>
                </c:pt>
                <c:pt idx="3">
                  <c:v>3619556.8371999986</c:v>
                </c:pt>
                <c:pt idx="4">
                  <c:v>3304526.302699999</c:v>
                </c:pt>
                <c:pt idx="5">
                  <c:v>3717818.1323999991</c:v>
                </c:pt>
                <c:pt idx="6">
                  <c:v>5340135.9869999988</c:v>
                </c:pt>
                <c:pt idx="7">
                  <c:v>4844893.7854999984</c:v>
                </c:pt>
                <c:pt idx="8">
                  <c:v>4692895.9643499991</c:v>
                </c:pt>
                <c:pt idx="9">
                  <c:v>4886348.3721000003</c:v>
                </c:pt>
                <c:pt idx="10">
                  <c:v>3494299.084199999</c:v>
                </c:pt>
                <c:pt idx="11">
                  <c:v>3861439.9598999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B94-46C6-BC9D-5765DB6DBB0D}"/>
            </c:ext>
          </c:extLst>
        </c:ser>
        <c:ser>
          <c:idx val="2"/>
          <c:order val="2"/>
          <c:tx>
            <c:v>Jutik</c:v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17052020 1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17052020 1.xlsx]Revenue Analysis'!$E$42:$P$42</c:f>
              <c:numCache>
                <c:formatCode>"$"#,##0.00;[Red]\-"$"#,##0.00</c:formatCode>
                <c:ptCount val="12"/>
                <c:pt idx="0">
                  <c:v>3037913.400549999</c:v>
                </c:pt>
                <c:pt idx="1">
                  <c:v>3356447.1493499991</c:v>
                </c:pt>
                <c:pt idx="2">
                  <c:v>2922918.5306499992</c:v>
                </c:pt>
                <c:pt idx="3">
                  <c:v>2583765.4304499994</c:v>
                </c:pt>
                <c:pt idx="4">
                  <c:v>2838411.9507499994</c:v>
                </c:pt>
                <c:pt idx="5">
                  <c:v>2419259.2661999995</c:v>
                </c:pt>
                <c:pt idx="6">
                  <c:v>3700649.1353999986</c:v>
                </c:pt>
                <c:pt idx="7">
                  <c:v>3768912.5491499985</c:v>
                </c:pt>
                <c:pt idx="8">
                  <c:v>3380705.7799499989</c:v>
                </c:pt>
                <c:pt idx="9">
                  <c:v>3586047.5391999991</c:v>
                </c:pt>
                <c:pt idx="10">
                  <c:v>3032362.88845</c:v>
                </c:pt>
                <c:pt idx="11">
                  <c:v>3079299.10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B94-46C6-BC9D-5765DB6DBB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24416559"/>
        <c:axId val="933046063"/>
      </c:lineChart>
      <c:dateAx>
        <c:axId val="924416559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3046063"/>
        <c:crosses val="autoZero"/>
        <c:auto val="1"/>
        <c:lblOffset val="100"/>
        <c:baseTimeUnit val="months"/>
      </c:dateAx>
      <c:valAx>
        <c:axId val="933046063"/>
        <c:scaling>
          <c:orientation val="minMax"/>
          <c:max val="1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244165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rgbClr val="92D050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dirty="0"/>
              <a:t>Overall</a:t>
            </a:r>
            <a:r>
              <a:rPr lang="en-US" sz="1600" b="1" baseline="0" dirty="0"/>
              <a:t> Costs Aggreg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Chemical Expenses</c:v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17052020 1.xlsx]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17052020 1.xlsx]Expenses Analysis'!$F$49:$Q$49</c:f>
              <c:numCache>
                <c:formatCode>"$"#,##0.00;[Red]\-"$"#,##0.00</c:formatCode>
                <c:ptCount val="12"/>
                <c:pt idx="0">
                  <c:v>4752382.6895514736</c:v>
                </c:pt>
                <c:pt idx="1">
                  <c:v>5167035.0438473243</c:v>
                </c:pt>
                <c:pt idx="2">
                  <c:v>5477119.2220016234</c:v>
                </c:pt>
                <c:pt idx="3">
                  <c:v>6217372.1257881755</c:v>
                </c:pt>
                <c:pt idx="4">
                  <c:v>6351549.5562056992</c:v>
                </c:pt>
                <c:pt idx="5">
                  <c:v>5473893.9778650012</c:v>
                </c:pt>
                <c:pt idx="6">
                  <c:v>7073236.3159125</c:v>
                </c:pt>
                <c:pt idx="7">
                  <c:v>7645099.2339562494</c:v>
                </c:pt>
                <c:pt idx="8">
                  <c:v>7576081.9643531246</c:v>
                </c:pt>
                <c:pt idx="9">
                  <c:v>7870566.9194312505</c:v>
                </c:pt>
                <c:pt idx="10">
                  <c:v>9096355.030431252</c:v>
                </c:pt>
                <c:pt idx="11">
                  <c:v>5712658.17832124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126-4C00-86C6-3C125F3B246D}"/>
            </c:ext>
          </c:extLst>
        </c:ser>
        <c:ser>
          <c:idx val="1"/>
          <c:order val="1"/>
          <c:tx>
            <c:v>Utility-Heating</c:v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17052020 1.xlsx]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17052020 1.xlsx]Expenses Analysis'!$F$50:$Q$50</c:f>
              <c:numCache>
                <c:formatCode>"$"#,##0.00;[Red]\-"$"#,##0.00</c:formatCode>
                <c:ptCount val="12"/>
                <c:pt idx="0">
                  <c:v>2439061.3979192991</c:v>
                </c:pt>
                <c:pt idx="1">
                  <c:v>2621863.5100085996</c:v>
                </c:pt>
                <c:pt idx="2">
                  <c:v>2806168.0509719998</c:v>
                </c:pt>
                <c:pt idx="3">
                  <c:v>3163209.5663784007</c:v>
                </c:pt>
                <c:pt idx="4">
                  <c:v>3218501.5770913498</c:v>
                </c:pt>
                <c:pt idx="5">
                  <c:v>2788369.1117025004</c:v>
                </c:pt>
                <c:pt idx="6">
                  <c:v>3593667.2656375002</c:v>
                </c:pt>
                <c:pt idx="7">
                  <c:v>3722191.4510812499</c:v>
                </c:pt>
                <c:pt idx="8">
                  <c:v>3871145.1659843749</c:v>
                </c:pt>
                <c:pt idx="9">
                  <c:v>3465642.2342250003</c:v>
                </c:pt>
                <c:pt idx="10">
                  <c:v>4094860.7397625004</c:v>
                </c:pt>
                <c:pt idx="11">
                  <c:v>2932911.3268075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26-4C00-86C6-3C125F3B246D}"/>
            </c:ext>
          </c:extLst>
        </c:ser>
        <c:ser>
          <c:idx val="2"/>
          <c:order val="2"/>
          <c:tx>
            <c:v>Utility-Electricity</c:v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17052020 1.xlsx]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17052020 1.xlsx]Expenses Analysis'!$F$51:$Q$51</c:f>
              <c:numCache>
                <c:formatCode>"$"#,##0.00;[Red]\-"$"#,##0.00</c:formatCode>
                <c:ptCount val="12"/>
                <c:pt idx="0">
                  <c:v>2300028.0101369992</c:v>
                </c:pt>
                <c:pt idx="1">
                  <c:v>2505939.5584575003</c:v>
                </c:pt>
                <c:pt idx="2">
                  <c:v>2627415.3951704986</c:v>
                </c:pt>
                <c:pt idx="3">
                  <c:v>2900613.3153855</c:v>
                </c:pt>
                <c:pt idx="4">
                  <c:v>2940556.1633002497</c:v>
                </c:pt>
                <c:pt idx="5">
                  <c:v>2582565.0096375002</c:v>
                </c:pt>
                <c:pt idx="6">
                  <c:v>3446732.8680624999</c:v>
                </c:pt>
                <c:pt idx="7">
                  <c:v>3483983.4045937499</c:v>
                </c:pt>
                <c:pt idx="8">
                  <c:v>3640816.4610781251</c:v>
                </c:pt>
                <c:pt idx="9">
                  <c:v>3250872.5897500003</c:v>
                </c:pt>
                <c:pt idx="10">
                  <c:v>3812121.7015625001</c:v>
                </c:pt>
                <c:pt idx="11">
                  <c:v>2923183.2132374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26-4C00-86C6-3C125F3B246D}"/>
            </c:ext>
          </c:extLst>
        </c:ser>
        <c:ser>
          <c:idx val="3"/>
          <c:order val="3"/>
          <c:tx>
            <c:v>Plant Maintenance</c:v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17052020 1.xlsx]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17052020 1.xlsx]Expenses Analysis'!$F$52:$Q$52</c:f>
              <c:numCache>
                <c:formatCode>"$"#,##0.00;[Red]\-"$"#,##0.00</c:formatCode>
                <c:ptCount val="12"/>
                <c:pt idx="0">
                  <c:v>2073604.724326327</c:v>
                </c:pt>
                <c:pt idx="1">
                  <c:v>2269539.7804914797</c:v>
                </c:pt>
                <c:pt idx="2">
                  <c:v>2374998.790312151</c:v>
                </c:pt>
                <c:pt idx="3">
                  <c:v>2645968.110327912</c:v>
                </c:pt>
                <c:pt idx="4">
                  <c:v>2691801.6955241356</c:v>
                </c:pt>
                <c:pt idx="5">
                  <c:v>2348808.3419548003</c:v>
                </c:pt>
                <c:pt idx="6">
                  <c:v>2879996.1652659997</c:v>
                </c:pt>
                <c:pt idx="7">
                  <c:v>2972957.9397390001</c:v>
                </c:pt>
                <c:pt idx="8">
                  <c:v>3094867.6019314998</c:v>
                </c:pt>
                <c:pt idx="9">
                  <c:v>2768358.2978389999</c:v>
                </c:pt>
                <c:pt idx="10">
                  <c:v>3268026.2100749998</c:v>
                </c:pt>
                <c:pt idx="11">
                  <c:v>2363869.6207261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126-4C00-86C6-3C125F3B246D}"/>
            </c:ext>
          </c:extLst>
        </c:ser>
        <c:ser>
          <c:idx val="4"/>
          <c:order val="4"/>
          <c:tx>
            <c:v>Plant Outages</c:v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17052020 1.xlsx]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17052020 1.xlsx]Expenses Analysis'!$F$53:$Q$53</c:f>
              <c:numCache>
                <c:formatCode>"$"#,##0.00;[Red]\-"$"#,##0.00</c:formatCode>
                <c:ptCount val="12"/>
                <c:pt idx="0">
                  <c:v>1347738.8706587995</c:v>
                </c:pt>
                <c:pt idx="1">
                  <c:v>1561170.3574350001</c:v>
                </c:pt>
                <c:pt idx="2">
                  <c:v>1574874.1415601994</c:v>
                </c:pt>
                <c:pt idx="3">
                  <c:v>1880373.5227742002</c:v>
                </c:pt>
                <c:pt idx="4">
                  <c:v>1968683.2157081</c:v>
                </c:pt>
                <c:pt idx="5">
                  <c:v>1158623.1401823002</c:v>
                </c:pt>
                <c:pt idx="6">
                  <c:v>1176136.1610068001</c:v>
                </c:pt>
                <c:pt idx="7">
                  <c:v>1239117.5758722001</c:v>
                </c:pt>
                <c:pt idx="8">
                  <c:v>1215602.9551357001</c:v>
                </c:pt>
                <c:pt idx="9">
                  <c:v>1190750.2535102002</c:v>
                </c:pt>
                <c:pt idx="10">
                  <c:v>1381387.0449670001</c:v>
                </c:pt>
                <c:pt idx="11">
                  <c:v>1040665.7581107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26-4C00-86C6-3C125F3B246D}"/>
            </c:ext>
          </c:extLst>
        </c:ser>
        <c:ser>
          <c:idx val="5"/>
          <c:order val="5"/>
          <c:tx>
            <c:v>Plant Op. Costs</c:v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17052020 1.xlsx]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17052020 1.xlsx]Expenses Analysis'!$F$54:$Q$54</c:f>
              <c:numCache>
                <c:formatCode>"$"#,##0.00;[Red]\-"$"#,##0.00</c:formatCode>
                <c:ptCount val="12"/>
                <c:pt idx="0">
                  <c:v>1800236.6472906992</c:v>
                </c:pt>
                <c:pt idx="1">
                  <c:v>1959718.9384044998</c:v>
                </c:pt>
                <c:pt idx="2">
                  <c:v>2069515.5841112991</c:v>
                </c:pt>
                <c:pt idx="3">
                  <c:v>2330999.3359503001</c:v>
                </c:pt>
                <c:pt idx="4">
                  <c:v>2376535.9434183999</c:v>
                </c:pt>
                <c:pt idx="5">
                  <c:v>1447049.2500542002</c:v>
                </c:pt>
                <c:pt idx="6">
                  <c:v>1483562.2037511999</c:v>
                </c:pt>
                <c:pt idx="7">
                  <c:v>1516247.7055998</c:v>
                </c:pt>
                <c:pt idx="8">
                  <c:v>1567231.2198758</c:v>
                </c:pt>
                <c:pt idx="9">
                  <c:v>1421177.7427773001</c:v>
                </c:pt>
                <c:pt idx="10">
                  <c:v>1665801.7318074999</c:v>
                </c:pt>
                <c:pt idx="11">
                  <c:v>1452590.2533372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126-4C00-86C6-3C125F3B246D}"/>
            </c:ext>
          </c:extLst>
        </c:ser>
        <c:ser>
          <c:idx val="6"/>
          <c:order val="6"/>
          <c:tx>
            <c:v>Plant Admin. Costs</c:v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17052020 1.xlsx]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17052020 1.xlsx]Expenses Analysis'!$F$55:$Q$55</c:f>
              <c:numCache>
                <c:formatCode>"$"#,##0.00;[Red]\-"$"#,##0.00</c:formatCode>
                <c:ptCount val="12"/>
                <c:pt idx="0">
                  <c:v>886197.60176639946</c:v>
                </c:pt>
                <c:pt idx="1">
                  <c:v>1012646.749821</c:v>
                </c:pt>
                <c:pt idx="2">
                  <c:v>1025398.9493285995</c:v>
                </c:pt>
                <c:pt idx="3">
                  <c:v>1186610.9527146001</c:v>
                </c:pt>
                <c:pt idx="4">
                  <c:v>1229462.2582892999</c:v>
                </c:pt>
                <c:pt idx="5">
                  <c:v>749668.56593790022</c:v>
                </c:pt>
                <c:pt idx="6">
                  <c:v>774322.04976840003</c:v>
                </c:pt>
                <c:pt idx="7">
                  <c:v>795356.48947859998</c:v>
                </c:pt>
                <c:pt idx="8">
                  <c:v>795992.24834010005</c:v>
                </c:pt>
                <c:pt idx="9">
                  <c:v>759387.99960660015</c:v>
                </c:pt>
                <c:pt idx="10">
                  <c:v>879614.44655700005</c:v>
                </c:pt>
                <c:pt idx="11">
                  <c:v>718766.3522571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3126-4C00-86C6-3C125F3B246D}"/>
            </c:ext>
          </c:extLst>
        </c:ser>
        <c:ser>
          <c:idx val="7"/>
          <c:order val="7"/>
          <c:tx>
            <c:v>Labor Costs</c:v>
          </c:tx>
          <c:spPr>
            <a:ln w="28575" cap="rnd">
              <a:solidFill>
                <a:schemeClr val="tx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17052020 1.xlsx]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17052020 1.xlsx]Expenses Analysis'!$F$56:$Q$56</c:f>
              <c:numCache>
                <c:formatCode>"$"#,##0.00;[Red]\-"$"#,##0.00</c:formatCode>
                <c:ptCount val="12"/>
                <c:pt idx="0">
                  <c:v>7367588.6791624967</c:v>
                </c:pt>
                <c:pt idx="1">
                  <c:v>7849336.0209874995</c:v>
                </c:pt>
                <c:pt idx="2">
                  <c:v>8389760.6297374964</c:v>
                </c:pt>
                <c:pt idx="3">
                  <c:v>9137407.9125625007</c:v>
                </c:pt>
                <c:pt idx="4">
                  <c:v>9187415.9798249993</c:v>
                </c:pt>
                <c:pt idx="5">
                  <c:v>5779740.0739000011</c:v>
                </c:pt>
                <c:pt idx="6">
                  <c:v>6008311.4579999996</c:v>
                </c:pt>
                <c:pt idx="7">
                  <c:v>6995040.989875</c:v>
                </c:pt>
                <c:pt idx="8">
                  <c:v>6352457.05155</c:v>
                </c:pt>
                <c:pt idx="9">
                  <c:v>6560328.9663875001</c:v>
                </c:pt>
                <c:pt idx="10">
                  <c:v>7526766.7026125006</c:v>
                </c:pt>
                <c:pt idx="11">
                  <c:v>6174477.1062125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3126-4C00-86C6-3C125F3B24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10360384"/>
        <c:axId val="2071958368"/>
      </c:lineChart>
      <c:dateAx>
        <c:axId val="410360384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1958368"/>
        <c:crosses val="autoZero"/>
        <c:auto val="1"/>
        <c:lblOffset val="100"/>
        <c:baseTimeUnit val="months"/>
      </c:dateAx>
      <c:valAx>
        <c:axId val="20719583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03603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9297681539807533E-2"/>
          <c:y val="0.76830374166018567"/>
          <c:w val="0.93251552930883641"/>
          <c:h val="0.20391856826185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4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dirty="0"/>
              <a:t>Aggregate Costs per Un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Kootha</c:v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'Expenses Analysis'!$D$35:$D$4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15:$R$22</c:f>
              <c:numCache>
                <c:formatCode>"$"#,##0.00;[Red]\-"$"#,##0.00</c:formatCode>
                <c:ptCount val="8"/>
                <c:pt idx="0">
                  <c:v>10125517.983652497</c:v>
                </c:pt>
                <c:pt idx="1">
                  <c:v>4720521.2044999981</c:v>
                </c:pt>
                <c:pt idx="2">
                  <c:v>7080781.8067499967</c:v>
                </c:pt>
                <c:pt idx="3">
                  <c:v>4863981.2092249971</c:v>
                </c:pt>
                <c:pt idx="4">
                  <c:v>3054127.7360249986</c:v>
                </c:pt>
                <c:pt idx="5">
                  <c:v>3450033.1832874976</c:v>
                </c:pt>
                <c:pt idx="6">
                  <c:v>2375432.6835749988</c:v>
                </c:pt>
                <c:pt idx="7">
                  <c:v>15553428.285312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C0-48F0-8C0D-A6CD7171CA48}"/>
            </c:ext>
          </c:extLst>
        </c:ser>
        <c:ser>
          <c:idx val="1"/>
          <c:order val="1"/>
          <c:tx>
            <c:v>Surjek</c:v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'Expenses Analysis'!$D$35:$D$4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25:$R$32</c:f>
              <c:numCache>
                <c:formatCode>"$"#,##0.00;[Red]\-"$"#,##0.00</c:formatCode>
                <c:ptCount val="8"/>
                <c:pt idx="0">
                  <c:v>46326012.775156811</c:v>
                </c:pt>
                <c:pt idx="1">
                  <c:v>23163006.387578405</c:v>
                </c:pt>
                <c:pt idx="2">
                  <c:v>19302505.322982002</c:v>
                </c:pt>
                <c:pt idx="3">
                  <c:v>18221565.024895009</c:v>
                </c:pt>
                <c:pt idx="4">
                  <c:v>11461092.4195712</c:v>
                </c:pt>
                <c:pt idx="5">
                  <c:v>12135274.3266048</c:v>
                </c:pt>
                <c:pt idx="6">
                  <c:v>6573273.5935776001</c:v>
                </c:pt>
                <c:pt idx="7">
                  <c:v>42136369.1896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9C0-48F0-8C0D-A6CD7171CA48}"/>
            </c:ext>
          </c:extLst>
        </c:ser>
        <c:ser>
          <c:idx val="2"/>
          <c:order val="2"/>
          <c:tx>
            <c:v>Jutik</c:v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'Expenses Analysis'!$D$35:$D$4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35:$R$42</c:f>
              <c:numCache>
                <c:formatCode>"$"#,##0.00;[Red]\-"$"#,##0.00</c:formatCode>
                <c:ptCount val="8"/>
                <c:pt idx="0">
                  <c:v>21961819.498855624</c:v>
                </c:pt>
                <c:pt idx="1">
                  <c:v>10834063.805491872</c:v>
                </c:pt>
                <c:pt idx="2">
                  <c:v>10031540.560640626</c:v>
                </c:pt>
                <c:pt idx="3">
                  <c:v>8667251.0443934985</c:v>
                </c:pt>
                <c:pt idx="4">
                  <c:v>2219902.8413250004</c:v>
                </c:pt>
                <c:pt idx="5">
                  <c:v>5505359.0464859996</c:v>
                </c:pt>
                <c:pt idx="6">
                  <c:v>1864718.386713</c:v>
                </c:pt>
                <c:pt idx="7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9C0-48F0-8C0D-A6CD7171CA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92878000"/>
        <c:axId val="670972960"/>
      </c:barChart>
      <c:catAx>
        <c:axId val="2092878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50000"/>
              </a:schemeClr>
            </a:solidFill>
            <a:round/>
          </a:ln>
          <a:effectLst/>
        </c:spPr>
        <c:txPr>
          <a:bodyPr rot="-1800000" spcFirstLastPara="1" vertOverflow="ellipsis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0972960"/>
        <c:crosses val="autoZero"/>
        <c:auto val="0"/>
        <c:lblAlgn val="ctr"/>
        <c:lblOffset val="100"/>
        <c:noMultiLvlLbl val="0"/>
      </c:catAx>
      <c:valAx>
        <c:axId val="670972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2878000"/>
        <c:crosses val="autoZero"/>
        <c:crossBetween val="between"/>
        <c:majorUnit val="1000000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4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err="1"/>
              <a:t>Kootha</a:t>
            </a:r>
            <a:r>
              <a:rPr lang="en-US" sz="1400" b="1" dirty="0"/>
              <a:t> Total Costs - $51M  </a:t>
            </a:r>
          </a:p>
          <a:p>
            <a:pPr>
              <a:defRPr sz="1200" b="1"/>
            </a:pPr>
            <a:r>
              <a:rPr lang="en-US" sz="1000" b="1" dirty="0"/>
              <a:t>(July-13 through June-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Kootha</c:v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Expenses Analysis'!$E$35:$E$42</c:f>
              <c:strCache>
                <c:ptCount val="8"/>
                <c:pt idx="0">
                  <c:v>Chem Exp</c:v>
                </c:pt>
                <c:pt idx="1">
                  <c:v>Utility   -   Heating</c:v>
                </c:pt>
                <c:pt idx="2">
                  <c:v>Uility   -   Electricity</c:v>
                </c:pt>
                <c:pt idx="3">
                  <c:v>Plant Maint.</c:v>
                </c:pt>
                <c:pt idx="4">
                  <c:v>Plant         Outages</c:v>
                </c:pt>
                <c:pt idx="5">
                  <c:v>Plant                Op. Costs</c:v>
                </c:pt>
                <c:pt idx="6">
                  <c:v>Plant Admin Costs</c:v>
                </c:pt>
                <c:pt idx="7">
                  <c:v>Labor</c:v>
                </c:pt>
              </c:strCache>
            </c:strRef>
          </c:cat>
          <c:val>
            <c:numRef>
              <c:f>'Expenses Analysis'!$R$15:$R$22</c:f>
              <c:numCache>
                <c:formatCode>"$"#,##0.00;[Red]\-"$"#,##0.00</c:formatCode>
                <c:ptCount val="8"/>
                <c:pt idx="0">
                  <c:v>10125517.983652497</c:v>
                </c:pt>
                <c:pt idx="1">
                  <c:v>4720521.2044999981</c:v>
                </c:pt>
                <c:pt idx="2">
                  <c:v>7080781.8067499967</c:v>
                </c:pt>
                <c:pt idx="3">
                  <c:v>4863981.2092249971</c:v>
                </c:pt>
                <c:pt idx="4">
                  <c:v>3054127.7360249986</c:v>
                </c:pt>
                <c:pt idx="5">
                  <c:v>3450033.1832874976</c:v>
                </c:pt>
                <c:pt idx="6">
                  <c:v>2375432.6835749988</c:v>
                </c:pt>
                <c:pt idx="7">
                  <c:v>15553428.285312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03-4D2D-ADFE-B455E5CDEA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52949839"/>
        <c:axId val="821452639"/>
      </c:barChart>
      <c:catAx>
        <c:axId val="6529498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1452639"/>
        <c:crosses val="autoZero"/>
        <c:auto val="1"/>
        <c:lblAlgn val="ctr"/>
        <c:lblOffset val="100"/>
        <c:noMultiLvlLbl val="0"/>
      </c:catAx>
      <c:valAx>
        <c:axId val="821452639"/>
        <c:scaling>
          <c:orientation val="minMax"/>
          <c:max val="4700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2949839"/>
        <c:crosses val="autoZero"/>
        <c:crossBetween val="between"/>
        <c:majorUnit val="10000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2">
          <a:lumMod val="50000"/>
        </a:schemeClr>
      </a:solidFill>
    </a:ln>
    <a:effectLst/>
  </c:spPr>
  <c:txPr>
    <a:bodyPr/>
    <a:lstStyle/>
    <a:p>
      <a:pPr>
        <a:defRPr sz="800"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err="1"/>
              <a:t>Surjek</a:t>
            </a:r>
            <a:r>
              <a:rPr lang="en-US" sz="1400" b="1" dirty="0"/>
              <a:t> Total Costs - $179M </a:t>
            </a:r>
          </a:p>
          <a:p>
            <a:pPr>
              <a:defRPr sz="1200" b="1"/>
            </a:pPr>
            <a:r>
              <a:rPr lang="en-US" sz="1000" b="1" dirty="0"/>
              <a:t>(July-13 through June-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Expenses Analysis'!$E$35:$E$42</c:f>
              <c:strCache>
                <c:ptCount val="8"/>
                <c:pt idx="0">
                  <c:v>Chem Exp</c:v>
                </c:pt>
                <c:pt idx="1">
                  <c:v>Utility   -   Heating</c:v>
                </c:pt>
                <c:pt idx="2">
                  <c:v>Uility   -   Electricity</c:v>
                </c:pt>
                <c:pt idx="3">
                  <c:v>Plant Maint.</c:v>
                </c:pt>
                <c:pt idx="4">
                  <c:v>Plant         Outages</c:v>
                </c:pt>
                <c:pt idx="5">
                  <c:v>Plant                Op. Costs</c:v>
                </c:pt>
                <c:pt idx="6">
                  <c:v>Plant Admin Costs</c:v>
                </c:pt>
                <c:pt idx="7">
                  <c:v>Labor</c:v>
                </c:pt>
              </c:strCache>
            </c:strRef>
          </c:cat>
          <c:val>
            <c:numRef>
              <c:f>'Expenses Analysis'!$R$25:$R$32</c:f>
              <c:numCache>
                <c:formatCode>"$"#,##0.00;[Red]\-"$"#,##0.00</c:formatCode>
                <c:ptCount val="8"/>
                <c:pt idx="0">
                  <c:v>46326012.775156811</c:v>
                </c:pt>
                <c:pt idx="1">
                  <c:v>23163006.387578405</c:v>
                </c:pt>
                <c:pt idx="2">
                  <c:v>19302505.322982002</c:v>
                </c:pt>
                <c:pt idx="3">
                  <c:v>18221565.024895009</c:v>
                </c:pt>
                <c:pt idx="4">
                  <c:v>11461092.4195712</c:v>
                </c:pt>
                <c:pt idx="5">
                  <c:v>12135274.3266048</c:v>
                </c:pt>
                <c:pt idx="6">
                  <c:v>6573273.5935776001</c:v>
                </c:pt>
                <c:pt idx="7">
                  <c:v>42136369.1896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66-4CF1-BA94-BA7DA0E603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52949839"/>
        <c:axId val="821452639"/>
      </c:barChart>
      <c:catAx>
        <c:axId val="6529498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1452639"/>
        <c:crosses val="autoZero"/>
        <c:auto val="1"/>
        <c:lblAlgn val="ctr"/>
        <c:lblOffset val="100"/>
        <c:noMultiLvlLbl val="0"/>
      </c:catAx>
      <c:valAx>
        <c:axId val="821452639"/>
        <c:scaling>
          <c:orientation val="minMax"/>
          <c:max val="4700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2949839"/>
        <c:crosses val="autoZero"/>
        <c:crossBetween val="between"/>
        <c:majorUnit val="10000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2">
          <a:lumMod val="50000"/>
        </a:schemeClr>
      </a:solidFill>
    </a:ln>
    <a:effectLst/>
  </c:spPr>
  <c:txPr>
    <a:bodyPr/>
    <a:lstStyle/>
    <a:p>
      <a:pPr>
        <a:defRPr sz="800"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err="1"/>
              <a:t>Jutik</a:t>
            </a:r>
            <a:r>
              <a:rPr lang="en-US" sz="1400" b="1" dirty="0"/>
              <a:t> Total Costs - $90M </a:t>
            </a:r>
          </a:p>
          <a:p>
            <a:pPr>
              <a:defRPr sz="1200" b="1"/>
            </a:pPr>
            <a:r>
              <a:rPr lang="en-US" sz="1000" b="1" dirty="0"/>
              <a:t>(July-13 through June-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Expenses Analysis'!$E$35:$E$42</c:f>
              <c:strCache>
                <c:ptCount val="8"/>
                <c:pt idx="0">
                  <c:v>Chem Exp</c:v>
                </c:pt>
                <c:pt idx="1">
                  <c:v>Utility   -   Heating</c:v>
                </c:pt>
                <c:pt idx="2">
                  <c:v>Uility   -   Electricity</c:v>
                </c:pt>
                <c:pt idx="3">
                  <c:v>Plant Maint.</c:v>
                </c:pt>
                <c:pt idx="4">
                  <c:v>Plant         Outages</c:v>
                </c:pt>
                <c:pt idx="5">
                  <c:v>Plant                Op. Costs</c:v>
                </c:pt>
                <c:pt idx="6">
                  <c:v>Plant Admin Costs</c:v>
                </c:pt>
                <c:pt idx="7">
                  <c:v>Labor</c:v>
                </c:pt>
              </c:strCache>
            </c:strRef>
          </c:cat>
          <c:val>
            <c:numRef>
              <c:f>'Expenses Analysis'!$R$35:$R$42</c:f>
              <c:numCache>
                <c:formatCode>"$"#,##0.00;[Red]\-"$"#,##0.00</c:formatCode>
                <c:ptCount val="8"/>
                <c:pt idx="0">
                  <c:v>21961819.498855624</c:v>
                </c:pt>
                <c:pt idx="1">
                  <c:v>10834063.805491872</c:v>
                </c:pt>
                <c:pt idx="2">
                  <c:v>10031540.560640626</c:v>
                </c:pt>
                <c:pt idx="3">
                  <c:v>8667251.0443934985</c:v>
                </c:pt>
                <c:pt idx="4">
                  <c:v>2219902.8413250004</c:v>
                </c:pt>
                <c:pt idx="5">
                  <c:v>5505359.0464859996</c:v>
                </c:pt>
                <c:pt idx="6">
                  <c:v>1864718.386713</c:v>
                </c:pt>
                <c:pt idx="7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C2-42A5-B7E0-028BD97FD6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52949839"/>
        <c:axId val="821452639"/>
      </c:barChart>
      <c:catAx>
        <c:axId val="6529498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1452639"/>
        <c:crosses val="autoZero"/>
        <c:auto val="1"/>
        <c:lblAlgn val="ctr"/>
        <c:lblOffset val="100"/>
        <c:noMultiLvlLbl val="0"/>
      </c:catAx>
      <c:valAx>
        <c:axId val="821452639"/>
        <c:scaling>
          <c:orientation val="minMax"/>
          <c:max val="4700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2949839"/>
        <c:crosses val="autoZero"/>
        <c:crossBetween val="between"/>
        <c:majorUnit val="10000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2">
          <a:lumMod val="50000"/>
        </a:schemeClr>
      </a:solidFill>
    </a:ln>
    <a:effectLst/>
  </c:spPr>
  <c:txPr>
    <a:bodyPr/>
    <a:lstStyle/>
    <a:p>
      <a:pPr>
        <a:defRPr sz="8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0/09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356518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Segmentation of the revenues by unit reveals that of the three (3) customer segments, Private Sales ($187M) are the most popular, followed by Public Sales ($146M) and lastly Residential Sales ($102M)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FD5D7997-1C51-4F2B-A8D5-5080B70768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4073540"/>
              </p:ext>
            </p:extLst>
          </p:nvPr>
        </p:nvGraphicFramePr>
        <p:xfrm>
          <a:off x="1209368" y="841737"/>
          <a:ext cx="5978014" cy="5549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Of the $436M in Revenue Sales over the July-2013 to June-2014 Period, </a:t>
            </a:r>
            <a:r>
              <a:rPr lang="en-GB" sz="1400" b="1" dirty="0" err="1"/>
              <a:t>Surjek</a:t>
            </a:r>
            <a:r>
              <a:rPr lang="en-GB" sz="1400" b="1" dirty="0"/>
              <a:t> provides close to 50% of Sales Volumes ($202M), with </a:t>
            </a:r>
            <a:r>
              <a:rPr lang="en-GB" sz="1400" b="1" dirty="0" err="1"/>
              <a:t>Jutik</a:t>
            </a:r>
            <a:r>
              <a:rPr lang="en-GB" sz="1400" b="1" dirty="0"/>
              <a:t> ($163M) and </a:t>
            </a:r>
            <a:r>
              <a:rPr lang="en-GB" sz="1400" b="1" dirty="0" err="1"/>
              <a:t>Kootha</a:t>
            </a:r>
            <a:r>
              <a:rPr lang="en-GB" sz="1400" b="1" dirty="0"/>
              <a:t> ($70M) providing the remaining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5D18292-FE24-4CB2-87CD-299583278E20}"/>
              </a:ext>
            </a:extLst>
          </p:cNvPr>
          <p:cNvSpPr txBox="1"/>
          <p:nvPr/>
        </p:nvSpPr>
        <p:spPr>
          <a:xfrm>
            <a:off x="171451" y="6440271"/>
            <a:ext cx="8512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/>
              <a:t>Note: This refers to the Total Sales for all 3 Units (Kootha, Surjek and Jutik)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221B7DED-E5AD-4F37-A404-D5EAFEDC19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8604969"/>
              </p:ext>
            </p:extLst>
          </p:nvPr>
        </p:nvGraphicFramePr>
        <p:xfrm>
          <a:off x="161565" y="841726"/>
          <a:ext cx="4309268" cy="29348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B09FC90C-9E51-49C9-8552-37C6E1796D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9473162"/>
              </p:ext>
            </p:extLst>
          </p:nvPr>
        </p:nvGraphicFramePr>
        <p:xfrm>
          <a:off x="4480719" y="841724"/>
          <a:ext cx="4319154" cy="29348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41632E8-A6E4-4421-9F9D-7DFB79BE46D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47081323"/>
              </p:ext>
            </p:extLst>
          </p:nvPr>
        </p:nvGraphicFramePr>
        <p:xfrm>
          <a:off x="2316199" y="3776583"/>
          <a:ext cx="4309267" cy="2550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Targeted Expense Analysis reveals an interesting trend; Overall Costs sharply increase from December, </a:t>
            </a:r>
            <a:r>
              <a:rPr lang="en-GB" sz="1400" b="1"/>
              <a:t>with Labor </a:t>
            </a:r>
            <a:r>
              <a:rPr lang="en-GB" sz="1400" b="1" dirty="0"/>
              <a:t>Costs, contributing $87M (27%) towards the overall cost-bas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FC536F4B-9AB1-BD0D-CA99-BC9791638D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58402061"/>
              </p:ext>
            </p:extLst>
          </p:nvPr>
        </p:nvGraphicFramePr>
        <p:xfrm>
          <a:off x="2654710" y="3692370"/>
          <a:ext cx="5955890" cy="2850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BB6CB83-6D71-451A-5E8A-180C06B1D1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4907186"/>
              </p:ext>
            </p:extLst>
          </p:nvPr>
        </p:nvGraphicFramePr>
        <p:xfrm>
          <a:off x="171451" y="841737"/>
          <a:ext cx="5955890" cy="2850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Further analysis singles-out </a:t>
            </a:r>
            <a:r>
              <a:rPr lang="en-GB" sz="1400" b="1" dirty="0" err="1"/>
              <a:t>Surjek</a:t>
            </a:r>
            <a:r>
              <a:rPr lang="en-GB" sz="1400" b="1" dirty="0"/>
              <a:t> with $179M (55%) worth of expenses, contrasted to a much lower spend from </a:t>
            </a:r>
            <a:r>
              <a:rPr lang="en-GB" sz="1400" b="1" dirty="0" err="1"/>
              <a:t>Kootha</a:t>
            </a:r>
            <a:r>
              <a:rPr lang="en-GB" sz="1400" b="1" dirty="0"/>
              <a:t> ($51 M) and </a:t>
            </a:r>
            <a:r>
              <a:rPr lang="en-GB" sz="1400" b="1" dirty="0" err="1"/>
              <a:t>Jutik</a:t>
            </a:r>
            <a:r>
              <a:rPr lang="en-GB" sz="1400" b="1" dirty="0"/>
              <a:t> ($90M), largely due to lower Chemical and Labour Expenditur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347C2E80-C69F-4635-8CC8-17EA9CFC340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12855354"/>
              </p:ext>
            </p:extLst>
          </p:nvPr>
        </p:nvGraphicFramePr>
        <p:xfrm>
          <a:off x="111377" y="758777"/>
          <a:ext cx="5508188" cy="19432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803A99FD-5638-4903-B02B-9266A44EACA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9453831"/>
              </p:ext>
            </p:extLst>
          </p:nvPr>
        </p:nvGraphicFramePr>
        <p:xfrm>
          <a:off x="3341873" y="2698931"/>
          <a:ext cx="5508188" cy="19370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CFF130FB-CE4D-461E-889F-A24D6648FFE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5612177"/>
              </p:ext>
            </p:extLst>
          </p:nvPr>
        </p:nvGraphicFramePr>
        <p:xfrm>
          <a:off x="111377" y="4635948"/>
          <a:ext cx="5508188" cy="1937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Drilling-down to the cost-element level, reveals an indicative relationship between water production and chemical expenditure with this being particularly pronounced for the </a:t>
            </a:r>
            <a:r>
              <a:rPr lang="en-GB" sz="1400" b="1" dirty="0" err="1"/>
              <a:t>Surjek</a:t>
            </a:r>
            <a:r>
              <a:rPr lang="en-GB" sz="1400" b="1" dirty="0"/>
              <a:t> Unit which coincidentally has the highest rate of water production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93562E3-95D6-4A5F-97A9-BF46E047713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05111349"/>
              </p:ext>
            </p:extLst>
          </p:nvPr>
        </p:nvGraphicFramePr>
        <p:xfrm>
          <a:off x="172442" y="1469430"/>
          <a:ext cx="8616553" cy="37826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 dirty="0"/>
              <a:t>Concluding our analysis, </a:t>
            </a:r>
            <a:r>
              <a:rPr lang="en-AU" sz="1350" b="1" dirty="0" err="1"/>
              <a:t>Jutik</a:t>
            </a:r>
            <a:r>
              <a:rPr lang="en-AU" sz="1350" b="1" dirty="0"/>
              <a:t> has the highest overall EBIT contributions ($72M), followed by </a:t>
            </a:r>
            <a:r>
              <a:rPr lang="en-AU" sz="1350" b="1" dirty="0" err="1"/>
              <a:t>Surjek</a:t>
            </a:r>
            <a:r>
              <a:rPr lang="en-AU" sz="1350" b="1" dirty="0"/>
              <a:t> ($22M), and lastly </a:t>
            </a:r>
            <a:r>
              <a:rPr lang="en-AU" sz="1350" b="1" dirty="0" err="1"/>
              <a:t>Kootha</a:t>
            </a:r>
            <a:r>
              <a:rPr lang="en-AU" sz="1350" b="1" dirty="0"/>
              <a:t> ($19M). However, from an EBIT  Margin (%) perspective, Kootha has a higher margin than that of </a:t>
            </a:r>
            <a:r>
              <a:rPr lang="en-AU" sz="1350" b="1" dirty="0" err="1"/>
              <a:t>Surjek</a:t>
            </a:r>
            <a:r>
              <a:rPr lang="en-AU" sz="1350" b="1" dirty="0"/>
              <a:t>, indicative of a lower revenue-to-expense ratio.¹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EFAD5F-5947-4F50-9D03-73E482BF7380}"/>
              </a:ext>
            </a:extLst>
          </p:cNvPr>
          <p:cNvSpPr txBox="1"/>
          <p:nvPr/>
        </p:nvSpPr>
        <p:spPr>
          <a:xfrm>
            <a:off x="134995" y="6351664"/>
            <a:ext cx="8512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b="1" dirty="0"/>
              <a:t>Note:¹ We can clearly see for Surjek over the October, November and May Periods – expenses were far higher than revenues which contributed to this lower revenue-to-expense ratio.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5D4075E-685D-450B-B736-7290BE5C57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98836223"/>
              </p:ext>
            </p:extLst>
          </p:nvPr>
        </p:nvGraphicFramePr>
        <p:xfrm>
          <a:off x="1199536" y="3557936"/>
          <a:ext cx="7601360" cy="2793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200A0652-CD40-4D44-8695-E4790EE852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1240473"/>
              </p:ext>
            </p:extLst>
          </p:nvPr>
        </p:nvGraphicFramePr>
        <p:xfrm>
          <a:off x="171451" y="1000906"/>
          <a:ext cx="6143625" cy="24523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549</TotalTime>
  <Words>366</Words>
  <Application>Microsoft Office PowerPoint</Application>
  <PresentationFormat>Custom</PresentationFormat>
  <Paragraphs>30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1_Synergy_CF_YNR013</vt:lpstr>
      <vt:lpstr>think-cell Slide</vt:lpstr>
      <vt:lpstr>Segmentation of the revenues by unit reveals that of the three (3) customer segments, Private Sales ($187M) are the most popular, followed by Public Sales ($146M) and lastly Residential Sales ($102M). </vt:lpstr>
      <vt:lpstr>Of the $436M in Revenue Sales over the July-2013 to June-2014 Period, Surjek provides close to 50% of Sales Volumes ($202M), with Jutik ($163M) and Kootha ($70M) providing the remaining.</vt:lpstr>
      <vt:lpstr>Targeted Expense Analysis reveals an interesting trend; Overall Costs sharply increase from December, with Labor Costs, contributing $87M (27%) towards the overall cost-base. </vt:lpstr>
      <vt:lpstr>Further analysis singles-out Surjek with $179M (55%) worth of expenses, contrasted to a much lower spend from Kootha ($51 M) and Jutik ($90M), largely due to lower Chemical and Labour Expenditure. </vt:lpstr>
      <vt:lpstr>Drilling-down to the cost-element level, reveals an indicative relationship between water production and chemical expenditure with this being particularly pronounced for the Surjek Unit which coincidentally has the highest rate of water production. </vt:lpstr>
      <vt:lpstr>Concluding our analysis, Jutik has the highest overall EBIT contributions ($72M), followed by Surjek ($22M), and lastly Kootha ($19M). However, from an EBIT  Margin (%) perspective, Kootha has a higher margin than that of Surjek, indicative of a lower revenue-to-expense ratio.¹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Galen Houser</cp:lastModifiedBy>
  <cp:revision>79</cp:revision>
  <dcterms:created xsi:type="dcterms:W3CDTF">2020-04-12T13:23:13Z</dcterms:created>
  <dcterms:modified xsi:type="dcterms:W3CDTF">2024-09-10T18:55:50Z</dcterms:modified>
</cp:coreProperties>
</file>